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  <p:sldMasterId id="2147483756" r:id="rId2"/>
  </p:sldMasterIdLst>
  <p:notesMasterIdLst>
    <p:notesMasterId r:id="rId11"/>
  </p:notesMasterIdLst>
  <p:handoutMasterIdLst>
    <p:handoutMasterId r:id="rId12"/>
  </p:handoutMasterIdLst>
  <p:sldIdLst>
    <p:sldId id="427" r:id="rId3"/>
    <p:sldId id="423" r:id="rId4"/>
    <p:sldId id="437" r:id="rId5"/>
    <p:sldId id="436" r:id="rId6"/>
    <p:sldId id="428" r:id="rId7"/>
    <p:sldId id="430" r:id="rId8"/>
    <p:sldId id="429" r:id="rId9"/>
    <p:sldId id="435" r:id="rId10"/>
  </p:sldIdLst>
  <p:sldSz cx="9906000" cy="6858000" type="A4"/>
  <p:notesSz cx="6808788" cy="9940925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4993"/>
    <a:srgbClr val="0C3F92"/>
    <a:srgbClr val="FEF6E6"/>
    <a:srgbClr val="FFFFFF"/>
    <a:srgbClr val="663300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73" d="100"/>
          <a:sy n="73" d="100"/>
        </p:scale>
        <p:origin x="-96" y="-86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5.bin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&#1044;&#1080;&#1072;&#1075;&#1088;&#1072;&#1084;&#1084;&#1072;%20&#1074;%20Microsoft%20PowerPoint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[Диаграмма в Microsoft PowerPoint]Лист4'!$C$3</c:f>
              <c:strCache>
                <c:ptCount val="1"/>
                <c:pt idx="0">
                  <c:v>количество объектов </c:v>
                </c:pt>
              </c:strCache>
            </c:strRef>
          </c:tx>
          <c:spPr>
            <a:ln w="0"/>
          </c:spPr>
          <c:dLbls>
            <c:dLbl>
              <c:idx val="0"/>
              <c:layout>
                <c:manualLayout>
                  <c:x val="-3.6477448155544823E-2"/>
                  <c:y val="-2.75290763952869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4.8776415775396507E-2"/>
                  <c:y val="-2.81877369144554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18236603650157715"/>
                  <c:y val="-1.31792103273702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19473410081439044"/>
                  <c:y val="-2.73015229635634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21933142673581377"/>
                  <c:y val="6.362385062183863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 i="1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'[Диаграмма в Microsoft PowerPoint]Лист4'!$B$4:$B$8</c:f>
              <c:strCache>
                <c:ptCount val="5"/>
                <c:pt idx="0">
                  <c:v>значительная</c:v>
                </c:pt>
                <c:pt idx="1">
                  <c:v>высокая </c:v>
                </c:pt>
                <c:pt idx="2">
                  <c:v>средняя </c:v>
                </c:pt>
                <c:pt idx="3">
                  <c:v>умеренная</c:v>
                </c:pt>
                <c:pt idx="4">
                  <c:v>низкая </c:v>
                </c:pt>
              </c:strCache>
            </c:strRef>
          </c:cat>
          <c:val>
            <c:numRef>
              <c:f>'[Диаграмма в Microsoft PowerPoint]Лист4'!$C$4:$C$8</c:f>
              <c:numCache>
                <c:formatCode>General</c:formatCode>
                <c:ptCount val="5"/>
                <c:pt idx="0">
                  <c:v>5</c:v>
                </c:pt>
                <c:pt idx="1">
                  <c:v>8</c:v>
                </c:pt>
                <c:pt idx="2">
                  <c:v>85</c:v>
                </c:pt>
                <c:pt idx="3">
                  <c:v>836</c:v>
                </c:pt>
                <c:pt idx="4">
                  <c:v>3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906555679748162"/>
          <c:y val="0.24895012090998261"/>
          <c:w val="0.26395070761350503"/>
          <c:h val="0.50042955154640778"/>
        </c:manualLayout>
      </c:layout>
      <c:overlay val="0"/>
      <c:txPr>
        <a:bodyPr/>
        <a:lstStyle/>
        <a:p>
          <a:pPr>
            <a:defRPr sz="1400" baseline="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1958419220761667"/>
          <c:y val="0.16422446107279845"/>
          <c:w val="0.91382265218961611"/>
          <c:h val="0.54290485355765272"/>
        </c:manualLayout>
      </c:layout>
      <c:bar3D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43515392"/>
        <c:axId val="243516928"/>
        <c:axId val="0"/>
      </c:bar3DChart>
      <c:catAx>
        <c:axId val="2435153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43516928"/>
        <c:crosses val="autoZero"/>
        <c:auto val="1"/>
        <c:lblAlgn val="ctr"/>
        <c:lblOffset val="100"/>
        <c:noMultiLvlLbl val="0"/>
      </c:catAx>
      <c:valAx>
        <c:axId val="243516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3515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302213276934996"/>
          <c:y val="0.95057845092940352"/>
          <c:w val="0.41801359878214012"/>
          <c:h val="4.94215490705964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PowerPoint]Лист1'!$C$3</c:f>
              <c:strCache>
                <c:ptCount val="1"/>
              </c:strCache>
            </c:strRef>
          </c:tx>
          <c:spPr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ln w="3175" cmpd="dbl"/>
            </c:spPr>
            <c:txPr>
              <a:bodyPr/>
              <a:lstStyle/>
              <a:p>
                <a:pPr>
                  <a:defRPr b="1" i="1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Диаграмма в Microsoft PowerPoint]Лист1'!$B$4:$B$15</c:f>
              <c:strCache>
                <c:ptCount val="12"/>
                <c:pt idx="0">
                  <c:v>Год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</c:strCache>
            </c:strRef>
          </c:cat>
          <c:val>
            <c:numRef>
              <c:f>'[Диаграмма в Microsoft PowerPoint]Лист1'!$C$4:$C$15</c:f>
              <c:numCache>
                <c:formatCode>General</c:formatCode>
                <c:ptCount val="12"/>
                <c:pt idx="0">
                  <c:v>0</c:v>
                </c:pt>
                <c:pt idx="1">
                  <c:v>4</c:v>
                </c:pt>
                <c:pt idx="2">
                  <c:v>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2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9954944"/>
        <c:axId val="149956480"/>
      </c:barChart>
      <c:catAx>
        <c:axId val="149954944"/>
        <c:scaling>
          <c:orientation val="minMax"/>
        </c:scaling>
        <c:delete val="0"/>
        <c:axPos val="b"/>
        <c:majorTickMark val="out"/>
        <c:minorTickMark val="none"/>
        <c:tickLblPos val="nextTo"/>
        <c:crossAx val="149956480"/>
        <c:crosses val="autoZero"/>
        <c:auto val="1"/>
        <c:lblAlgn val="ctr"/>
        <c:lblOffset val="100"/>
        <c:noMultiLvlLbl val="0"/>
      </c:catAx>
      <c:valAx>
        <c:axId val="14995648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4995494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8037" cy="49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9" tIns="47840" rIns="95679" bIns="47840" numCol="1" anchor="t" anchorCtr="0" compatLnSpc="1">
            <a:prstTxWarp prst="textNoShape">
              <a:avLst/>
            </a:prstTxWarp>
          </a:bodyPr>
          <a:lstStyle>
            <a:lvl1pPr defTabSz="956896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7572" y="0"/>
            <a:ext cx="2951217" cy="49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9" tIns="47840" rIns="95679" bIns="47840" numCol="1" anchor="t" anchorCtr="0" compatLnSpc="1">
            <a:prstTxWarp prst="textNoShape">
              <a:avLst/>
            </a:prstTxWarp>
          </a:bodyPr>
          <a:lstStyle>
            <a:lvl1pPr algn="r" defTabSz="956896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2.07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43403"/>
            <a:ext cx="2948037" cy="497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9" tIns="47840" rIns="95679" bIns="47840" numCol="1" anchor="b" anchorCtr="0" compatLnSpc="1">
            <a:prstTxWarp prst="textNoShape">
              <a:avLst/>
            </a:prstTxWarp>
          </a:bodyPr>
          <a:lstStyle>
            <a:lvl1pPr defTabSz="956896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7572" y="9443403"/>
            <a:ext cx="2951217" cy="497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9" tIns="47840" rIns="95679" bIns="47840" numCol="1" anchor="b" anchorCtr="0" compatLnSpc="1">
            <a:prstTxWarp prst="textNoShape">
              <a:avLst/>
            </a:prstTxWarp>
          </a:bodyPr>
          <a:lstStyle>
            <a:lvl1pPr algn="r" defTabSz="956896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8037" cy="49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9" tIns="47840" rIns="95679" bIns="47840" numCol="1" anchor="t" anchorCtr="0" compatLnSpc="1">
            <a:prstTxWarp prst="textNoShape">
              <a:avLst/>
            </a:prstTxWarp>
          </a:bodyPr>
          <a:lstStyle>
            <a:lvl1pPr defTabSz="956896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7572" y="0"/>
            <a:ext cx="2951217" cy="49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9" tIns="47840" rIns="95679" bIns="47840" numCol="1" anchor="t" anchorCtr="0" compatLnSpc="1">
            <a:prstTxWarp prst="textNoShape">
              <a:avLst/>
            </a:prstTxWarp>
          </a:bodyPr>
          <a:lstStyle>
            <a:lvl1pPr algn="r" defTabSz="956896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2.07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4538"/>
            <a:ext cx="5386387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7" tIns="45779" rIns="91557" bIns="45779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8971" y="4720906"/>
            <a:ext cx="5450847" cy="4476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9" tIns="47840" rIns="95679" bIns="47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43403"/>
            <a:ext cx="2948037" cy="497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9" tIns="47840" rIns="95679" bIns="47840" numCol="1" anchor="b" anchorCtr="0" compatLnSpc="1">
            <a:prstTxWarp prst="textNoShape">
              <a:avLst/>
            </a:prstTxWarp>
          </a:bodyPr>
          <a:lstStyle>
            <a:lvl1pPr defTabSz="956896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7572" y="9443403"/>
            <a:ext cx="2951217" cy="497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9" tIns="47840" rIns="95679" bIns="47840" numCol="1" anchor="b" anchorCtr="0" compatLnSpc="1">
            <a:prstTxWarp prst="textNoShape">
              <a:avLst/>
            </a:prstTxWarp>
          </a:bodyPr>
          <a:lstStyle>
            <a:lvl1pPr algn="r" defTabSz="956896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2788" y="744538"/>
            <a:ext cx="5386387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422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0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AE975D-0691-4BE2-95BD-D96377C2A3BA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649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C417381-FEB1-4F69-9F5E-29D4B1416361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4333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7" y="274643"/>
            <a:ext cx="707866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EE7EA27-9535-4389-92AB-875C848EFD45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49781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0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A89F2D9-5ECA-4498-A053-A1CF62759D3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842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5A7A0CE-F58C-456C-979E-524EC0A998A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3903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A272131-E7E7-48E5-898E-0C797DBB1D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1901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5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5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BAD22A-2D2D-4E05-942B-334F797276F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319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899CD84-B563-4F86-B5A6-4E502DDE07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9645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031ABCF-9725-48CE-BD87-F5C3752DCB7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8296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6DE5F3E-6DD6-4C35-9EAC-C7357530381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9614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5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FFC1472-6C7D-41F6-9B84-3BCFBD4003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276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EDD0846-B478-4933-926F-0AEC6897DBF4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79684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6D59D88-11D2-4FD1-9B30-292E28C587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7595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6AE1D2-8A52-448C-B32E-1B3B4CE049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5223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7" y="274643"/>
            <a:ext cx="707866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BC30058-D3DC-4E07-A8FD-A203D36588A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790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B6A2BC6-50E4-4E87-8FB6-26F84F2FEAD9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4293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5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5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0EB6E54-A47D-4C7A-8346-5444C5D29296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1219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85510C-3947-4ECE-87F8-BBFE5ECF1872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5041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61C72A-39DA-49A9-8D50-4154D7C37459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4333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C18473-348D-4C72-93BE-6D34316B3A81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4043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5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62510A-471E-4E68-8AEC-A62B8E7E0D20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98951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3F38502-F902-4B28-AEC3-8E0E57E3B8DA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5059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5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5E9611CD-D1F3-4047-A96C-D0E6B4A5AFF9}" type="datetime1">
              <a:rPr lang="ru-RU" smtClean="0"/>
              <a:t>25.07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7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262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5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D0B7021-3176-487B-AF46-E7D6FDFDF5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5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05610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7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871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81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388938" y="1844824"/>
            <a:ext cx="9150350" cy="4536504"/>
          </a:xfrm>
        </p:spPr>
        <p:txBody>
          <a:bodyPr>
            <a:noAutofit/>
          </a:bodyPr>
          <a:lstStyle/>
          <a:p>
            <a:pPr marL="0" indent="0" algn="ctr" eaLnBrk="1" hangingPunct="1">
              <a:lnSpc>
                <a:spcPct val="120000"/>
              </a:lnSpc>
              <a:spcBef>
                <a:spcPct val="0"/>
              </a:spcBef>
              <a:buNone/>
            </a:pP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120000"/>
              </a:lnSpc>
              <a:spcBef>
                <a:spcPct val="0"/>
              </a:spcBef>
              <a:buNone/>
            </a:pP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120000"/>
              </a:lnSpc>
              <a:spcBef>
                <a:spcPct val="0"/>
              </a:spcBef>
              <a:buNone/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</a:t>
            </a:r>
          </a:p>
          <a:p>
            <a:pPr marL="0" indent="0" algn="ctr" eaLnBrk="1" hangingPunct="1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 итогах деятельности </a:t>
            </a:r>
          </a:p>
          <a:p>
            <a:pPr marL="0" indent="0" algn="ctr" eaLnBrk="1" hangingPunct="1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байкальского  управления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технадзора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о направлению федерального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го  энергетического надзора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 6 месяцев 2024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.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байкальский край 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. Чита </a:t>
            </a:r>
          </a:p>
          <a:p>
            <a:pPr marL="0" indent="0" algn="ctr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.07.2024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Забайкаль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5940E3B-AC01-4EC5-A64C-1CB94FF184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737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8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088424" y="596793"/>
            <a:ext cx="80380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РАСПРЕДЕЛЕНИЕ ОБЪЕКТОВ ПО КАТЕГОРИЯМ РИСКА 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0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1231924"/>
              </p:ext>
            </p:extLst>
          </p:nvPr>
        </p:nvGraphicFramePr>
        <p:xfrm>
          <a:off x="920552" y="1233214"/>
          <a:ext cx="8205892" cy="4500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03446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805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088424" y="596793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показателей надзорной </a:t>
            </a: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деятельности 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031476"/>
              </p:ext>
            </p:extLst>
          </p:nvPr>
        </p:nvGraphicFramePr>
        <p:xfrm>
          <a:off x="495300" y="1412772"/>
          <a:ext cx="8915401" cy="4680524"/>
        </p:xfrm>
        <a:graphic>
          <a:graphicData uri="http://schemas.openxmlformats.org/drawingml/2006/table">
            <a:tbl>
              <a:tblPr/>
              <a:tblGrid>
                <a:gridCol w="785292"/>
                <a:gridCol w="4320480"/>
                <a:gridCol w="792088"/>
                <a:gridCol w="648072"/>
                <a:gridCol w="576064"/>
                <a:gridCol w="648072"/>
                <a:gridCol w="501953"/>
                <a:gridCol w="643380"/>
              </a:tblGrid>
              <a:tr h="10015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№ п/п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Наименование показател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2022г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2023г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6 мес. 2023г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6 мес. 2024г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±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±%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46426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Общее количество контрольных (надзорных) мероприятий, всего,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6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57 %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из них: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92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плановые проверк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41 %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внеплановые проверк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1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50 %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14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Выявлено правонарушений, всег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3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1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47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17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2370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433 %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26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Общее количество административных наказаний, всего,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13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59 %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из них: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92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административное приостановление деятельност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54702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предупреждение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54702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3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50 %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административный штраф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54702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16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84 % 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2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Общая сумма наложенных административных штрафов, (тыс. руб.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2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4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32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57 %</a:t>
                      </a:r>
                    </a:p>
                  </a:txBody>
                  <a:tcPr marL="8595" marR="8595" marT="859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359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09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аварийности 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xmlns="" id="{EF640B0A-D963-476C-B423-D21004BF7D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0602945"/>
              </p:ext>
            </p:extLst>
          </p:nvPr>
        </p:nvGraphicFramePr>
        <p:xfrm>
          <a:off x="3656856" y="488075"/>
          <a:ext cx="5918600" cy="48833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5835856"/>
              </p:ext>
            </p:extLst>
          </p:nvPr>
        </p:nvGraphicFramePr>
        <p:xfrm>
          <a:off x="560512" y="1233215"/>
          <a:ext cx="8928991" cy="4428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67500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3" name="Picture 5" descr="Для качественной печати: текущая страница в формате TIF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21" y="780709"/>
            <a:ext cx="3392777" cy="4688354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2395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3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3728864" y="770635"/>
            <a:ext cx="590465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организации работы по выявлению индикаторов риска нарушения обязательных требований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886200" y="1556792"/>
            <a:ext cx="574732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i="1" dirty="0"/>
              <a:t>В 2023 году проведение внеплановых контрольных (надзорных) мероприятий при выявлении индикаторов риска нарушения обязательных требований допускалось в отношении объектов:</a:t>
            </a:r>
          </a:p>
          <a:p>
            <a:r>
              <a:rPr lang="ru-RU" sz="1600" b="0" i="1" dirty="0"/>
              <a:t>чрезвычайно высокого и высокого рисков, опасных производственных объектов I и II классов опасности, гидротехнических сооружений I и II классов, или индикаторов риска, влекущих непосредственную угрозу причинения вреда жизни и тяжкого вреда здоровью граждан.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886200" y="3618895"/>
            <a:ext cx="57473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3951548" y="3933056"/>
            <a:ext cx="545928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B4993"/>
                </a:solidFill>
                <a:cs typeface="Times New Roman" pitchFamily="18" charset="0"/>
              </a:rPr>
              <a:t>В 2023 году по индикаторам проведено 3 проверки:</a:t>
            </a:r>
          </a:p>
          <a:p>
            <a:r>
              <a:rPr lang="ru-RU" b="0" u="sng" dirty="0">
                <a:solidFill>
                  <a:srgbClr val="0B4993"/>
                </a:solidFill>
              </a:rPr>
              <a:t>ПБ-1  </a:t>
            </a:r>
            <a:r>
              <a:rPr lang="ru-RU" b="0" dirty="0">
                <a:solidFill>
                  <a:srgbClr val="0B4993"/>
                </a:solidFill>
              </a:rPr>
              <a:t>  </a:t>
            </a:r>
            <a:r>
              <a:rPr lang="ru-RU" b="0" dirty="0">
                <a:solidFill>
                  <a:srgbClr val="0C3F92"/>
                </a:solidFill>
              </a:rPr>
              <a:t>поступление в территориальный орган Ростехнадзора информации о трех и более инцидентах, произошедших на опасном производственном объекте в течение одного календарного года; </a:t>
            </a:r>
            <a:endParaRPr lang="ru-RU" b="0" dirty="0" smtClean="0">
              <a:solidFill>
                <a:srgbClr val="0C3F92"/>
              </a:solidFill>
            </a:endParaRPr>
          </a:p>
          <a:p>
            <a:r>
              <a:rPr lang="ru-RU" sz="1400" dirty="0" smtClean="0">
                <a:solidFill>
                  <a:srgbClr val="0B4993"/>
                </a:solidFill>
              </a:rPr>
              <a:t>За 6 месяцев 2024 года по индикаторам проведена 1 проверка по Республике Бурятия ( ПАО «ТГК-14»)</a:t>
            </a:r>
            <a:endParaRPr lang="ru-RU" sz="1400" dirty="0">
              <a:solidFill>
                <a:srgbClr val="0B4993"/>
              </a:solidFill>
            </a:endParaRPr>
          </a:p>
          <a:p>
            <a:r>
              <a:rPr lang="ru-RU" b="0" u="sng" dirty="0">
                <a:solidFill>
                  <a:srgbClr val="0B4993"/>
                </a:solidFill>
              </a:rPr>
              <a:t>ПБ-1</a:t>
            </a:r>
            <a:r>
              <a:rPr lang="ru-RU" b="0" dirty="0">
                <a:solidFill>
                  <a:srgbClr val="0B4993"/>
                </a:solidFill>
              </a:rPr>
              <a:t>    поступление в территориальный орган </a:t>
            </a:r>
            <a:r>
              <a:rPr lang="ru-RU" b="0" dirty="0">
                <a:solidFill>
                  <a:srgbClr val="0B4993"/>
                </a:solidFill>
              </a:rPr>
              <a:t>Ростехнадзора</a:t>
            </a:r>
            <a:r>
              <a:rPr lang="ru-RU" b="0" dirty="0">
                <a:solidFill>
                  <a:srgbClr val="0B4993"/>
                </a:solidFill>
              </a:rPr>
              <a:t> информации о трех и более инцидентах, произошедших на опасном производственном объекте в течение одного календарного года; </a:t>
            </a:r>
          </a:p>
          <a:p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68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791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работе по профилактике нарушен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77380" y="6112363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cap="all" dirty="0"/>
              <a:t>Наказание не является целью, цель – профилактика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7379" y="3861048"/>
            <a:ext cx="8262951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>
                <a:latin typeface="Times New Roman"/>
                <a:ea typeface="Times New Roman"/>
              </a:rPr>
              <a:t>За 6 месяцев 2024 года Управлением по Забайкальскому краю  объявлено 15 предостережений о недопустимости нарушения обязательных требований; проведено 160 профилактических мероприятий в виде консультирования поднадзорных субъектов, 1 публичное слушание по обобщению правоприменительной практики, и самой массовой мерой применённой профилактического воздействия является 2114 случаев информирования. </a:t>
            </a:r>
            <a:endParaRPr lang="ru-RU" sz="1600" b="0" dirty="0">
              <a:solidFill>
                <a:srgbClr val="0070C0"/>
              </a:solidFill>
              <a:effectLst/>
              <a:latin typeface="Times New Roman"/>
              <a:ea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9466" y="1233214"/>
            <a:ext cx="6130033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r>
              <a:rPr lang="ru-RU" sz="1800" dirty="0"/>
              <a:t>Профилактические мероприятия (ст. 45 248-ФЗ)</a:t>
            </a:r>
          </a:p>
          <a:p>
            <a:endParaRPr lang="ru-RU" dirty="0"/>
          </a:p>
          <a:p>
            <a:r>
              <a:rPr lang="ru-RU" sz="1600" dirty="0"/>
              <a:t>1) информирование;</a:t>
            </a:r>
          </a:p>
          <a:p>
            <a:r>
              <a:rPr lang="ru-RU" sz="1600" dirty="0"/>
              <a:t>2) обобщение правоприменительной практики;</a:t>
            </a:r>
          </a:p>
          <a:p>
            <a:r>
              <a:rPr lang="ru-RU" sz="1600" dirty="0"/>
              <a:t>3) меры стимулирования добросовестности;</a:t>
            </a:r>
          </a:p>
          <a:p>
            <a:r>
              <a:rPr lang="ru-RU" sz="1600" dirty="0"/>
              <a:t>4) объявление предостережения;</a:t>
            </a:r>
          </a:p>
          <a:p>
            <a:r>
              <a:rPr lang="ru-RU" sz="1600" dirty="0"/>
              <a:t>5) консультирование;</a:t>
            </a:r>
          </a:p>
          <a:p>
            <a:r>
              <a:rPr lang="ru-RU" sz="1600" dirty="0"/>
              <a:t>6) </a:t>
            </a:r>
            <a:r>
              <a:rPr lang="ru-RU" sz="1600" dirty="0"/>
              <a:t>самообследование</a:t>
            </a:r>
            <a:r>
              <a:rPr lang="ru-RU" sz="1600" dirty="0"/>
              <a:t>;</a:t>
            </a:r>
          </a:p>
          <a:p>
            <a:r>
              <a:rPr lang="ru-RU" sz="1600" dirty="0"/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7380" y="6669360"/>
            <a:ext cx="8262951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11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2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3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299467" y="742796"/>
            <a:ext cx="37155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повышении открытости</a:t>
            </a:r>
            <a:endParaRPr kumimoji="0" lang="ru-RU" sz="18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80756" y="1556792"/>
            <a:ext cx="902477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0" dirty="0"/>
              <a:t>Проведение публичных обсуждений результатов правоприменительной практики;</a:t>
            </a:r>
          </a:p>
          <a:p>
            <a:endParaRPr lang="ru-RU" sz="1800" b="0" dirty="0"/>
          </a:p>
          <a:p>
            <a:r>
              <a:rPr lang="ru-RU" sz="1800" b="0" dirty="0"/>
              <a:t>Участие в совещаниях, организованных главами администраций районов;</a:t>
            </a:r>
          </a:p>
          <a:p>
            <a:endParaRPr lang="ru-RU" sz="1800" b="0" dirty="0"/>
          </a:p>
          <a:p>
            <a:r>
              <a:rPr lang="ru-RU" sz="1800" b="0" dirty="0"/>
              <a:t>На официальном сайте регулярно публикуется информация о деятельности Управления, о причинах допущенных аварий и смертельных несчастных случаев, результатах проведенных проверок;</a:t>
            </a:r>
          </a:p>
          <a:p>
            <a:endParaRPr lang="ru-RU" sz="1800" b="0" dirty="0"/>
          </a:p>
          <a:p>
            <a:endParaRPr lang="ru-RU" sz="1800" b="0" dirty="0"/>
          </a:p>
        </p:txBody>
      </p:sp>
      <p:pic>
        <p:nvPicPr>
          <p:cNvPr id="17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051" y="1340768"/>
            <a:ext cx="568513" cy="56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051" y="1909281"/>
            <a:ext cx="568513" cy="56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051" y="2477794"/>
            <a:ext cx="568513" cy="56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612775" y="6093296"/>
            <a:ext cx="36116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0" dirty="0"/>
              <a:t>Публичные обсуждения проводятся в очном </a:t>
            </a:r>
            <a:r>
              <a:rPr lang="en-US" b="0" dirty="0"/>
              <a:t> </a:t>
            </a:r>
            <a:r>
              <a:rPr lang="ru-RU" b="0" dirty="0"/>
              <a:t>формате. Всего в 2023 году проведено 4 </a:t>
            </a:r>
            <a:r>
              <a:rPr lang="ru-RU" b="0" dirty="0" smtClean="0"/>
              <a:t>слушания, за 6 месяцев 2024 года – 2 слушания.</a:t>
            </a:r>
            <a:endParaRPr lang="ru-RU" b="0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3081D3D9-2AC7-447E-BF92-14434D1FBE5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6717" y="3294117"/>
            <a:ext cx="3460234" cy="2585323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45B6219E-943E-4B15-88F9-FA58B98849D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02088" y="3313475"/>
            <a:ext cx="4427984" cy="3320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79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3558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904357" y="804310"/>
            <a:ext cx="875614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0" u="sng" kern="0" cap="all" dirty="0">
                <a:cs typeface="Times New Roman" panose="02020603050405020304" pitchFamily="18" charset="0"/>
              </a:rPr>
              <a:t>О дальнейшей работе ЗАБАЙКАЛЬСКОГО управления в рамках полномочий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68624" y="1676707"/>
            <a:ext cx="93648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dirty="0">
                <a:solidFill>
                  <a:prstClr val="black"/>
                </a:solidFill>
              </a:rPr>
              <a:t>1. Развивать и укреплять работу по профилактике нарушений, действовать на опережение и устранять любые предпосылки возникновения аварий и несчастных случаев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55207" y="2282956"/>
            <a:ext cx="90654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0" i="1" dirty="0">
                <a:solidFill>
                  <a:srgbClr val="002060"/>
                </a:solidFill>
              </a:rPr>
              <a:t>Необходимо </a:t>
            </a:r>
            <a:r>
              <a:rPr lang="ru-RU" sz="1400" b="0" i="1" dirty="0" smtClean="0">
                <a:solidFill>
                  <a:srgbClr val="002060"/>
                </a:solidFill>
              </a:rPr>
              <a:t>усилить </a:t>
            </a:r>
            <a:r>
              <a:rPr lang="ru-RU" sz="1400" b="0" i="1" dirty="0">
                <a:solidFill>
                  <a:srgbClr val="002060"/>
                </a:solidFill>
              </a:rPr>
              <a:t>работу по выявлению срабатывания индикаторов риска нарушений обязательных </a:t>
            </a:r>
            <a:r>
              <a:rPr lang="ru-RU" sz="1400" b="0" i="1" dirty="0" smtClean="0">
                <a:solidFill>
                  <a:srgbClr val="002060"/>
                </a:solidFill>
              </a:rPr>
              <a:t>требований, а </a:t>
            </a:r>
            <a:r>
              <a:rPr lang="ru-RU" sz="1400" b="0" i="1" dirty="0">
                <a:solidFill>
                  <a:srgbClr val="002060"/>
                </a:solidFill>
              </a:rPr>
              <a:t>также проводить профилактические визиты при осуществлении видов государственного контроля (надзора). Применять меры стимулирования добросовестности к контролируемым лицам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55111" y="3204265"/>
            <a:ext cx="93648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dirty="0">
                <a:solidFill>
                  <a:prstClr val="black"/>
                </a:solidFill>
              </a:rPr>
              <a:t>2. Повышать информированность общественности, юридических лиц и индивидуальных предпринимателей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27021" y="4653136"/>
            <a:ext cx="93648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dirty="0">
                <a:solidFill>
                  <a:prstClr val="black"/>
                </a:solidFill>
              </a:rPr>
              <a:t>3. Принимать незамедлительные меры реагирования при получении информации или сведений от граждан, общественных, профсоюзных организаций или надзорных органов об имеющихся нарушениях, которые представляют угрозу жизни и здоровью людей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94214" y="3789040"/>
            <a:ext cx="90654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b="0" i="1" dirty="0" smtClean="0">
              <a:solidFill>
                <a:srgbClr val="002060"/>
              </a:solidFill>
            </a:endParaRPr>
          </a:p>
          <a:p>
            <a:r>
              <a:rPr lang="ru-RU" sz="1400" b="0" i="1" dirty="0" smtClean="0">
                <a:solidFill>
                  <a:srgbClr val="002060"/>
                </a:solidFill>
              </a:rPr>
              <a:t>Продолжить </a:t>
            </a:r>
            <a:r>
              <a:rPr lang="ru-RU" sz="1400" b="0" i="1" dirty="0">
                <a:solidFill>
                  <a:srgbClr val="002060"/>
                </a:solidFill>
              </a:rPr>
              <a:t>проведение публичных обсуждений, размещение информационных материалов на официальном сайте Управления, проведение рабочих встреч с представителями поднадзорных организаций</a:t>
            </a:r>
          </a:p>
        </p:txBody>
      </p:sp>
    </p:spTree>
    <p:extLst>
      <p:ext uri="{BB962C8B-B14F-4D97-AF65-F5344CB8AC3E}">
        <p14:creationId xmlns:p14="http://schemas.microsoft.com/office/powerpoint/2010/main" val="3513655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28912</TotalTime>
  <Words>680</Words>
  <Application>Microsoft Office PowerPoint</Application>
  <PresentationFormat>Лист A4 (210x297 мм)</PresentationFormat>
  <Paragraphs>161</Paragraphs>
  <Slides>8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Ксения В. Крушельницкая</cp:lastModifiedBy>
  <cp:revision>1292</cp:revision>
  <cp:lastPrinted>2024-07-25T07:21:17Z</cp:lastPrinted>
  <dcterms:created xsi:type="dcterms:W3CDTF">2012-04-16T06:44:06Z</dcterms:created>
  <dcterms:modified xsi:type="dcterms:W3CDTF">2024-07-26T01:35:36Z</dcterms:modified>
</cp:coreProperties>
</file>